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40"/>
  </p:notesMasterIdLst>
  <p:handoutMasterIdLst>
    <p:handoutMasterId r:id="rId41"/>
  </p:handoutMasterIdLst>
  <p:sldIdLst>
    <p:sldId id="2147470659" r:id="rId7"/>
    <p:sldId id="2147471611" r:id="rId8"/>
    <p:sldId id="2147471584" r:id="rId9"/>
    <p:sldId id="2147471612" r:id="rId10"/>
    <p:sldId id="2147471621" r:id="rId11"/>
    <p:sldId id="2147471613" r:id="rId12"/>
    <p:sldId id="2147470574" r:id="rId13"/>
    <p:sldId id="2147471619" r:id="rId14"/>
    <p:sldId id="2147470660" r:id="rId15"/>
    <p:sldId id="2147471583" r:id="rId16"/>
    <p:sldId id="2147471605" r:id="rId17"/>
    <p:sldId id="2147471622" r:id="rId18"/>
    <p:sldId id="2147470584" r:id="rId19"/>
    <p:sldId id="2147471586" r:id="rId20"/>
    <p:sldId id="2147470661" r:id="rId21"/>
    <p:sldId id="2147470652" r:id="rId22"/>
    <p:sldId id="2147471623" r:id="rId23"/>
    <p:sldId id="2147470594" r:id="rId24"/>
    <p:sldId id="2147471610" r:id="rId25"/>
    <p:sldId id="2147471609" r:id="rId26"/>
    <p:sldId id="2147471607" r:id="rId27"/>
    <p:sldId id="2147471608" r:id="rId28"/>
    <p:sldId id="2147471614" r:id="rId29"/>
    <p:sldId id="2147471615" r:id="rId30"/>
    <p:sldId id="2147471616" r:id="rId31"/>
    <p:sldId id="2147471617" r:id="rId32"/>
    <p:sldId id="2147470653" r:id="rId33"/>
    <p:sldId id="2147471620" r:id="rId34"/>
    <p:sldId id="2147471624" r:id="rId35"/>
    <p:sldId id="2147471625" r:id="rId36"/>
    <p:sldId id="2147471628" r:id="rId37"/>
    <p:sldId id="2147471626" r:id="rId38"/>
    <p:sldId id="2147471627"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1"/>
            <p14:sldId id="2147471613"/>
          </p14:sldIdLst>
        </p14:section>
        <p14:section name="Add chat with data" id="{E8E4E757-D298-43DA-8793-F370C1E73CA5}">
          <p14:sldIdLst>
            <p14:sldId id="2147470574"/>
            <p14:sldId id="2147471619"/>
            <p14:sldId id="2147470660"/>
            <p14:sldId id="2147471583"/>
            <p14:sldId id="2147471605"/>
            <p14:sldId id="2147471622"/>
          </p14:sldIdLst>
        </p14:section>
        <p14:section name="Implement function calls" id="{F5F183B8-C5D8-431A-9A1F-028A2933A24D}">
          <p14:sldIdLst>
            <p14:sldId id="2147470584"/>
            <p14:sldId id="2147471586"/>
            <p14:sldId id="2147470661"/>
            <p14:sldId id="2147470652"/>
            <p14:sldId id="2147471623"/>
          </p14:sldIdLst>
        </p14:section>
        <p14:section name="Implement audio transcription" id="{E6A915D0-6F4A-4982-AE77-1617CDE9AA68}">
          <p14:sldIdLst>
            <p14:sldId id="2147470594"/>
            <p14:sldId id="2147471610"/>
            <p14:sldId id="2147471609"/>
            <p14:sldId id="2147471607"/>
            <p14:sldId id="2147471608"/>
          </p14:sldIdLst>
        </p14:section>
        <p14:section name="Provide live audio transcription" id="{995FD802-19C9-40DA-83E7-C68CEC136731}">
          <p14:sldIdLst>
            <p14:sldId id="2147471614"/>
            <p14:sldId id="2147471615"/>
            <p14:sldId id="2147471616"/>
            <p14:sldId id="2147471617"/>
            <p14:sldId id="2147470653"/>
          </p14:sldIdLst>
        </p14:section>
        <p14:section name="Generate a call summary" id="{23693ADD-9D7D-4236-A048-509B3E0DE44F}">
          <p14:sldIdLst>
            <p14:sldId id="2147471620"/>
            <p14:sldId id="2147471624"/>
            <p14:sldId id="2147471625"/>
            <p14:sldId id="2147471628"/>
            <p14:sldId id="2147471626"/>
            <p14:sldId id="21474716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0680" autoAdjust="0"/>
  </p:normalViewPr>
  <p:slideViewPr>
    <p:cSldViewPr snapToGrid="0">
      <p:cViewPr varScale="1">
        <p:scale>
          <a:sx n="86" d="100"/>
          <a:sy n="86" d="100"/>
        </p:scale>
        <p:origin x="747" y="3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17/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OpenAI Studio makes it easy to import data into Azure AI Search from Azure Blob Storage. From there, you can try chat completions against your data to ensure everything works as expect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fill in the blanks on several existing functions in a </a:t>
            </a:r>
            <a:r>
              <a:rPr lang="en-US" sz="1200" b="0" i="0" dirty="0" err="1">
                <a:solidFill>
                  <a:schemeClr val="tx1"/>
                </a:solidFill>
                <a:effectLst/>
                <a:latin typeface="Segoe UI"/>
                <a:ea typeface="Calibri" panose="020F0502020204030204" pitchFamily="34" charset="0"/>
                <a:cs typeface="Segoe UI"/>
              </a:rPr>
              <a:t>Streamlit</a:t>
            </a:r>
            <a:r>
              <a:rPr lang="en-US" sz="1200" b="0" i="0" dirty="0">
                <a:solidFill>
                  <a:schemeClr val="tx1"/>
                </a:solidFill>
                <a:effectLst/>
                <a:latin typeface="Segoe UI"/>
                <a:ea typeface="Calibri" panose="020F0502020204030204" pitchFamily="34" charset="0"/>
                <a:cs typeface="Segoe UI"/>
              </a:rPr>
              <a:t> application.</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The end result is a dashboard that allows direct chat with your customer data.</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57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 deployment as the intermediary. You will build an API endpoint in a .NET Web API. This endpoint will retrieve customer data from Cosmos DB based on some filter criteria.</a:t>
            </a:r>
          </a:p>
          <a:p>
            <a:endParaRPr lang="en-US" b="0" i="0" dirty="0">
              <a:effectLst/>
              <a:latin typeface="Segoe UI"/>
              <a:cs typeface="Segoe UI"/>
            </a:endParaRPr>
          </a:p>
          <a:p>
            <a:r>
              <a:rPr lang="en-US" b="0" i="0" dirty="0">
                <a:effectLst/>
                <a:latin typeface="Segoe UI"/>
                <a:cs typeface="Segoe UI"/>
              </a:rPr>
              <a:t>You will make the GPT-4 deployment aware of this function using a function definition. Then, you can use the deployment to automate a function call and bring that data into </a:t>
            </a:r>
            <a:r>
              <a:rPr lang="en-US" b="0" i="0" dirty="0" err="1">
                <a:effectLst/>
                <a:latin typeface="Segoe UI"/>
                <a:cs typeface="Segoe UI"/>
              </a:rPr>
              <a:t>Streamlit</a:t>
            </a:r>
            <a:r>
              <a:rPr lang="en-US" b="0" i="0" dirty="0">
                <a:effectLst/>
                <a:latin typeface="Segoe UI"/>
                <a:cs typeface="Segoe UI"/>
              </a:rPr>
              <a: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3B3B3B"/>
                </a:solidFill>
                <a:effectLst/>
                <a:latin typeface="Consolas" panose="020B0609020204030204" pitchFamily="49" charset="0"/>
              </a:rPr>
              <a:t>Bringing our own data is one great way to enhance GPT models in Azure OpenAI, allowing them to answer questions specific to our circumstances. Another way to customize responses and enhance system capabilities involves function calling, a native way for GPT models to formula API calls and structure data outputs based on the functions we specify. In this exercise, you will create a function to supplement chat conversations with customer data.</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mplement a customer account information lookup API endpoint against Cosmos DB using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Create a function in Python to perform customer account lookup as part of a broader conver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function calling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 recent addition to Azure OpenAI is the ability to define function calls to external resources. To show this off to Contoso Suites, you will first create a simple Web API in C# and have it access data in Cosmos DB.</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ce your Web API service is running, you can define function calls in your Python code. For example, this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would call a local function in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named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That local function could then reference an external API and bring back data.</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incorporate speech to text. You will use a microphone to state an utterance and then send that to the AI Services Speech service for recognition. From there, you will submit the text to Azure Open AI for chat completion. You will do this in the Azure OpenAI Studio Chat Playground as well as from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this point, we have shown Contoso Suites some of the benefit of chat completions with the Azure OpenAI service. In this exercise, we will extend from text to include spoken requests as wel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speech to text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service resources. You will create an AI Services Speech resource in the same region as your Azure OpenAI service and enable speech to text in the OpenAI Studio Chat Playgroun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When you select the microphone option, you will be able to speak your request. The speech to text service interprets your request as an utterance. You can then send the interpreted message and receive a response as though you typed in the messag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will implement similar functionality in the </a:t>
            </a:r>
            <a:r>
              <a:rPr lang="en-US" b="0" i="0" dirty="0" err="1">
                <a:effectLst/>
                <a:latin typeface="Segoe UI" panose="020B0502040204020203" pitchFamily="34" charset="0"/>
              </a:rPr>
              <a:t>Streamlit</a:t>
            </a:r>
            <a:r>
              <a:rPr lang="en-US" b="0" i="0" dirty="0">
                <a:effectLst/>
                <a:latin typeface="Segoe UI" panose="020B0502040204020203" pitchFamily="34" charset="0"/>
              </a:rPr>
              <a:t> application as well.</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5 focuses on audio transcription. You will perform speech-to-text analysis of pre-recorded calls as well as your microphone input. You will then build a simple mechanism to check if a call meets compliance requirement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captured an utterance and submitted it to the Azure AI Services Speech service for speech to text transcription. From there, you submitted that text as an input to a chat client.</a:t>
            </a: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In this exercise,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Incorporate audio file upload and audio transcrip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Incorporate live microphone transcription of a full audio stream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Check whether a call meets compliance require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has a built-in capability for file uploads, using the </a:t>
            </a:r>
            <a:r>
              <a:rPr lang="en-US" b="0" i="0" dirty="0" err="1">
                <a:solidFill>
                  <a:srgbClr val="000000"/>
                </a:solidFill>
                <a:effectLst/>
                <a:latin typeface="Times New Roman" panose="02020603050405020304" pitchFamily="18" charset="0"/>
              </a:rPr>
              <a:t>st.file_uploader</a:t>
            </a:r>
            <a:r>
              <a:rPr lang="en-US" b="0" i="0" dirty="0">
                <a:solidFill>
                  <a:srgbClr val="000000"/>
                </a:solidFill>
                <a:effectLst/>
                <a:latin typeface="Times New Roman" panose="02020603050405020304" pitchFamily="18" charset="0"/>
              </a:rPr>
              <a:t>() widget. You will use this to capture an audio file in WAV format and submit it to the AI Services Speech service for transcrip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also use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Extras stateful button to perform live call recording, enabling you to speak into a microphone and stream that data to Azure AI Services for transcrip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6 focuses on using generative AI to summarize text and to extract insights.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095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1F2328"/>
                </a:solidFill>
                <a:effectLst/>
                <a:latin typeface="-apple-system"/>
              </a:rPr>
              <a:t>Now that you have assisted Contoso Suites with automating the creation of audio transcriptions, they would like to leverage Azure AI Services to automate the generation of a call summary, eliminating the need for their customer service agents to do this manually at the end of each call.</a:t>
            </a:r>
          </a:p>
          <a:p>
            <a:pPr algn="l"/>
            <a:endParaRPr lang="en-US" b="0" i="0" dirty="0">
              <a:solidFill>
                <a:srgbClr val="1F2328"/>
              </a:solidFill>
              <a:effectLst/>
              <a:latin typeface="-apple-system"/>
            </a:endParaRPr>
          </a:p>
          <a:p>
            <a:pPr algn="l"/>
            <a:r>
              <a:rPr lang="en-US" b="0" i="0" dirty="0">
                <a:solidFill>
                  <a:srgbClr val="1F2328"/>
                </a:solidFill>
                <a:effectLst/>
                <a:latin typeface="-apple-system"/>
              </a:rPr>
              <a:t>In this lab, you will expand on the audio transcription work you did in Lab 05, focusing on using Azure AI Services--including Azure OpenAI--to summarize the call's transcript and to extract insights from the transcript. You will also preform sentiment analysis and opinion m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Generate summaries using various methods available in Azure AI Services and Azure OpenAI. Summarization methods include extractive, abstractive, and query-based summaries.</a:t>
            </a:r>
          </a:p>
          <a:p>
            <a:pPr marL="171450" indent="-171450" algn="l">
              <a:buFont typeface="Arial" panose="020B0604020202020204" pitchFamily="34" charset="0"/>
              <a:buChar char="•"/>
            </a:pPr>
            <a:r>
              <a:rPr lang="en-US" b="0" i="0" dirty="0">
                <a:solidFill>
                  <a:srgbClr val="1F2328"/>
                </a:solidFill>
                <a:effectLst/>
                <a:latin typeface="-apple-system"/>
              </a:rPr>
              <a:t>Use Azure AI Services to extract named entities</a:t>
            </a:r>
          </a:p>
          <a:p>
            <a:pPr marL="171450" indent="-171450" algn="l">
              <a:buFont typeface="Arial" panose="020B0604020202020204" pitchFamily="34" charset="0"/>
              <a:buChar char="•"/>
            </a:pPr>
            <a:r>
              <a:rPr lang="en-US" b="0" i="0" dirty="0">
                <a:solidFill>
                  <a:srgbClr val="1F2328"/>
                </a:solidFill>
                <a:effectLst/>
                <a:latin typeface="-apple-system"/>
              </a:rPr>
              <a:t>Leverage Azure AI Services to perform sentiment analysis and opinion m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corporate call summariza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72548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You will create an AI Services Language resource in the same region as your Azure OpenAI service to allow for working with different methods of text summarization. You will also use the service to extract named entities and perform sentiment analysis and opinion mining.</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519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The Language service provides extractive and abstractive summarization functions, both of which condense text or documents into key sentences.</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Creates a summary by extracting sentences that collectively represent the most important or relevant information within the original conten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Produces a summary by generating summarized sentences from the document that capture the main idea.</a:t>
            </a: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Uses generative AI to create a summary based on the key ideas within text.</a:t>
            </a:r>
            <a:br>
              <a:rPr lang="en-US" b="0" dirty="0">
                <a:solidFill>
                  <a:srgbClr val="000000"/>
                </a:solidFill>
                <a:effectLst/>
                <a:latin typeface="Menlo"/>
              </a:rPr>
            </a:br>
            <a:endParaRPr lang="en-US" b="0" dirty="0">
              <a:solidFill>
                <a:srgbClr val="000000"/>
              </a:solidFill>
              <a:effectLst/>
              <a:latin typeface="Menlo"/>
            </a:endParaRPr>
          </a:p>
          <a:p>
            <a:r>
              <a:rPr lang="en-US" b="0" dirty="0">
                <a:solidFill>
                  <a:srgbClr val="000000"/>
                </a:solidFill>
                <a:effectLst/>
                <a:latin typeface="Menlo"/>
              </a:rPr>
              <a:t>For the query-based summarization, you will provide the model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You will upload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e of the most natural ways to integrate Azure OpenAI in an existing solution is to incorporate chat into an existing system. For this solution to bring the most value to an organization, however, the chat service must have access to information that may be proprietary or otherwise confidential. In this exercise, we will add custom data to augment an existing Azure OpenAI chat deployment, allowing customer service agents to review customer data in a natural language form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Prepare a dataset in Azure Blob Storage for ingestion into Azure OpenAI</a:t>
            </a:r>
          </a:p>
          <a:p>
            <a:pPr marL="171450" indent="-171450" algn="l">
              <a:buFont typeface="Arial" panose="020B0604020202020204" pitchFamily="34" charset="0"/>
              <a:buChar char="•"/>
            </a:pPr>
            <a:r>
              <a:rPr lang="en-US" b="0" i="0" dirty="0">
                <a:solidFill>
                  <a:srgbClr val="1F2328"/>
                </a:solidFill>
                <a:effectLst/>
                <a:latin typeface="-apple-system"/>
              </a:rPr>
              <a:t>Ingest data from Azure Blob Storage into Azure OpenAI via Azure AI Search</a:t>
            </a:r>
          </a:p>
          <a:p>
            <a:pPr marL="171450" indent="-171450" algn="l">
              <a:buFont typeface="Arial" panose="020B0604020202020204" pitchFamily="34" charset="0"/>
              <a:buChar char="•"/>
            </a:pPr>
            <a:r>
              <a:rPr lang="en-US" b="0" i="0" dirty="0">
                <a:solidFill>
                  <a:srgbClr val="1F2328"/>
                </a:solidFill>
                <a:effectLst/>
                <a:latin typeface="-apple-system"/>
              </a:rPr>
              <a:t>Test chat completions using the Chat Playground in Azure OpenAI</a:t>
            </a:r>
          </a:p>
          <a:p>
            <a:pPr marL="171450" indent="-171450" algn="l">
              <a:buFont typeface="Arial" panose="020B0604020202020204" pitchFamily="34" charset="0"/>
              <a:buChar char="•"/>
            </a:pPr>
            <a:r>
              <a:rPr lang="en-US" b="0" i="0" dirty="0">
                <a:solidFill>
                  <a:srgbClr val="1F2328"/>
                </a:solidFill>
                <a:effectLst/>
                <a:latin typeface="-apple-system"/>
              </a:rPr>
              <a:t>Incorporate chat completions into a </a:t>
            </a:r>
            <a:r>
              <a:rPr lang="en-US" b="0" i="0" dirty="0" err="1">
                <a:solidFill>
                  <a:srgbClr val="1F2328"/>
                </a:solidFill>
                <a:effectLst/>
                <a:latin typeface="-apple-system"/>
              </a:rPr>
              <a:t>Streamlit</a:t>
            </a:r>
            <a:r>
              <a:rPr lang="en-US" b="0" i="0" dirty="0">
                <a:solidFill>
                  <a:srgbClr val="1F2328"/>
                </a:solidFill>
                <a:effectLst/>
                <a:latin typeface="-apple-system"/>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4.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29.svg"/><Relationship Id="rId10" Type="http://schemas.openxmlformats.org/officeDocument/2006/relationships/image" Target="../media/image6.png"/><Relationship Id="rId4" Type="http://schemas.openxmlformats.org/officeDocument/2006/relationships/image" Target="../media/image28.png"/><Relationship Id="rId9"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9.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23.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3.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30.xml"/><Relationship Id="rId5" Type="http://schemas.openxmlformats.org/officeDocument/2006/relationships/image" Target="../media/image36.pn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4.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23.png"/><Relationship Id="rId11" Type="http://schemas.openxmlformats.org/officeDocument/2006/relationships/image" Target="../media/image38.svg"/><Relationship Id="rId5" Type="http://schemas.openxmlformats.org/officeDocument/2006/relationships/image" Target="../media/image31.svg"/><Relationship Id="rId10" Type="http://schemas.openxmlformats.org/officeDocument/2006/relationships/image" Target="../media/image37.png"/><Relationship Id="rId4" Type="http://schemas.openxmlformats.org/officeDocument/2006/relationships/image" Target="../media/image30.png"/><Relationship Id="rId9" Type="http://schemas.openxmlformats.org/officeDocument/2006/relationships/image" Target="../media/image33.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2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29.xml"/><Relationship Id="rId7" Type="http://schemas.openxmlformats.org/officeDocument/2006/relationships/image" Target="../media/image30.png"/><Relationship Id="rId12" Type="http://schemas.openxmlformats.org/officeDocument/2006/relationships/image" Target="../media/image44.svg"/><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23.png"/><Relationship Id="rId9" Type="http://schemas.openxmlformats.org/officeDocument/2006/relationships/image" Target="../media/image41.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39.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40.xml"/><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8.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3.png"/><Relationship Id="rId11" Type="http://schemas.openxmlformats.org/officeDocument/2006/relationships/image" Target="../media/image12.png"/><Relationship Id="rId5" Type="http://schemas.openxmlformats.org/officeDocument/2006/relationships/image" Target="../media/image22.svg"/><Relationship Id="rId10" Type="http://schemas.openxmlformats.org/officeDocument/2006/relationships/image" Target="../media/image11.svg"/><Relationship Id="rId4" Type="http://schemas.openxmlformats.org/officeDocument/2006/relationships/image" Target="../media/image21.png"/><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Add Your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D8C3F34-8B6D-7874-8928-2B746F9FED1D}"/>
              </a:ext>
            </a:extLst>
          </p:cNvPr>
          <p:cNvPicPr>
            <a:picLocks noChangeAspect="1"/>
          </p:cNvPicPr>
          <p:nvPr/>
        </p:nvPicPr>
        <p:blipFill>
          <a:blip r:embed="rId7"/>
          <a:stretch>
            <a:fillRect/>
          </a:stretch>
        </p:blipFill>
        <p:spPr>
          <a:xfrm>
            <a:off x="850518" y="2268415"/>
            <a:ext cx="5968370" cy="2948574"/>
          </a:xfrm>
          <a:prstGeom prst="rect">
            <a:avLst/>
          </a:prstGeom>
        </p:spPr>
      </p:pic>
      <p:pic>
        <p:nvPicPr>
          <p:cNvPr id="8" name="Picture 7">
            <a:extLst>
              <a:ext uri="{FF2B5EF4-FFF2-40B4-BE49-F238E27FC236}">
                <a16:creationId xmlns:a16="http://schemas.microsoft.com/office/drawing/2014/main" id="{CCDAB519-270B-4EE0-671A-4D8F4CFA13FD}"/>
              </a:ext>
            </a:extLst>
          </p:cNvPr>
          <p:cNvPicPr>
            <a:picLocks noChangeAspect="1"/>
          </p:cNvPicPr>
          <p:nvPr/>
        </p:nvPicPr>
        <p:blipFill>
          <a:blip r:embed="rId8"/>
          <a:stretch>
            <a:fillRect/>
          </a:stretch>
        </p:blipFill>
        <p:spPr>
          <a:xfrm>
            <a:off x="7193455" y="2329961"/>
            <a:ext cx="4254164" cy="2887027"/>
          </a:xfrm>
          <a:prstGeom prst="rect">
            <a:avLst/>
          </a:prstGeom>
        </p:spPr>
      </p:pic>
      <p:sp>
        <p:nvSpPr>
          <p:cNvPr id="9" name="Arrow: Right 8">
            <a:extLst>
              <a:ext uri="{FF2B5EF4-FFF2-40B4-BE49-F238E27FC236}">
                <a16:creationId xmlns:a16="http://schemas.microsoft.com/office/drawing/2014/main" id="{41E5F9FE-313D-15EE-336F-24E70BF1D01E}"/>
              </a:ext>
            </a:extLst>
          </p:cNvPr>
          <p:cNvSpPr/>
          <p:nvPr/>
        </p:nvSpPr>
        <p:spPr bwMode="auto">
          <a:xfrm>
            <a:off x="6224954" y="3470139"/>
            <a:ext cx="1019908" cy="6066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Update a </a:t>
            </a:r>
            <a:r>
              <a:rPr lang="en-US" sz="2400" b="0" dirty="0" err="1">
                <a:latin typeface="Segoe UI Semibold" panose="020B0702040204020203" pitchFamily="34" charset="0"/>
                <a:cs typeface="Segoe UI Semibold" panose="020B0702040204020203" pitchFamily="34" charset="0"/>
              </a:rPr>
              <a:t>Streamlit</a:t>
            </a:r>
            <a:r>
              <a:rPr lang="en-US" sz="2400" b="0" dirty="0">
                <a:latin typeface="Segoe UI Semibold" panose="020B0702040204020203" pitchFamily="34" charset="0"/>
                <a:cs typeface="Segoe UI Semibold" panose="020B0702040204020203" pitchFamily="34" charset="0"/>
              </a:rPr>
              <a:t> Application</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DB3F6A-FFEA-399A-BF6D-21F83CE031CC}"/>
              </a:ext>
            </a:extLst>
          </p:cNvPr>
          <p:cNvPicPr>
            <a:picLocks noChangeAspect="1"/>
          </p:cNvPicPr>
          <p:nvPr/>
        </p:nvPicPr>
        <p:blipFill>
          <a:blip r:embed="rId7"/>
          <a:stretch>
            <a:fillRect/>
          </a:stretch>
        </p:blipFill>
        <p:spPr>
          <a:xfrm>
            <a:off x="2559023" y="1841030"/>
            <a:ext cx="7073942" cy="4096220"/>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hat with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9EDE26-5918-6548-0119-5941A732EC3F}"/>
              </a:ext>
            </a:extLst>
          </p:cNvPr>
          <p:cNvPicPr>
            <a:picLocks noChangeAspect="1"/>
          </p:cNvPicPr>
          <p:nvPr/>
        </p:nvPicPr>
        <p:blipFill>
          <a:blip r:embed="rId7"/>
          <a:stretch>
            <a:fillRect/>
          </a:stretch>
        </p:blipFill>
        <p:spPr>
          <a:xfrm>
            <a:off x="3193622" y="1951880"/>
            <a:ext cx="5804755" cy="3918753"/>
          </a:xfrm>
          <a:prstGeom prst="rect">
            <a:avLst/>
          </a:prstGeom>
        </p:spPr>
      </p:pic>
    </p:spTree>
    <p:custDataLst>
      <p:tags r:id="rId1"/>
    </p:custDataLst>
    <p:extLst>
      <p:ext uri="{BB962C8B-B14F-4D97-AF65-F5344CB8AC3E}">
        <p14:creationId xmlns:p14="http://schemas.microsoft.com/office/powerpoint/2010/main" val="33645915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055504"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Customer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0388" y="46201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733906" y="314141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2020200" y="374310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stCxn id="30" idx="2"/>
            <a:endCxn id="23" idx="1"/>
          </p:cNvCxnSpPr>
          <p:nvPr/>
        </p:nvCxnSpPr>
        <p:spPr>
          <a:xfrm>
            <a:off x="3047952" y="4389437"/>
            <a:ext cx="772436" cy="7492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1623492" y="4697214"/>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3"/>
          </p:cNvCxnSpPr>
          <p:nvPr/>
        </p:nvCxnSpPr>
        <p:spPr>
          <a:xfrm flipH="1">
            <a:off x="5593107" y="4379426"/>
            <a:ext cx="1213605" cy="7592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E9FE9E-C106-FA3D-17B6-922650E88DD6}"/>
              </a:ext>
            </a:extLst>
          </p:cNvPr>
          <p:cNvSpPr txBox="1"/>
          <p:nvPr/>
        </p:nvSpPr>
        <p:spPr>
          <a:xfrm>
            <a:off x="6199909" y="4728466"/>
            <a:ext cx="223191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call defined</a:t>
            </a:r>
          </a:p>
          <a:p>
            <a:pPr defTabSz="932472" fontAlgn="base">
              <a:spcBef>
                <a:spcPct val="0"/>
              </a:spcBef>
              <a:spcAft>
                <a:spcPct val="0"/>
              </a:spcAft>
            </a:pPr>
            <a:r>
              <a:rPr lang="en-US" sz="1600" dirty="0">
                <a:solidFill>
                  <a:schemeClr val="tx1"/>
                </a:solidFill>
                <a:ea typeface="Segoe UI" pitchFamily="34" charset="0"/>
                <a:cs typeface="Segoe UI" pitchFamily="34" charset="0"/>
              </a:rPr>
              <a:t>by GPT-4 deployment</a:t>
            </a:r>
          </a:p>
        </p:txBody>
      </p: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a customer account information API endpoint against Cosmos DB using C#</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function in Python to perform customer account lookup as part of a broader conversation</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function calling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uild a Web API Endpoi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build a standard Web API service in C# that reads from </a:t>
            </a:r>
            <a:r>
              <a:rPr kumimoji="0" lang="en-US" sz="2000" b="0" i="0" u="none" strike="noStrike" kern="1200" cap="none" spc="0" normalizeH="0" baseline="0" noProof="0" dirty="0" err="1">
                <a:ln>
                  <a:noFill/>
                </a:ln>
                <a:effectLst/>
                <a:uLnTx/>
                <a:uFillTx/>
                <a:latin typeface="Segoe UI "/>
                <a:ea typeface="+mn-ea"/>
                <a:cs typeface="+mn-cs"/>
              </a:rPr>
              <a:t>dat</a:t>
            </a:r>
            <a:r>
              <a:rPr lang="en-US" sz="2000" dirty="0">
                <a:latin typeface="Segoe UI "/>
              </a:rPr>
              <a:t>a in Cosmos DB.</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For the sake of simplicity, this service can run locally or you could deploy it to Azure.</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308324"/>
          </a:xfrm>
          <a:prstGeom prst="rect">
            <a:avLst/>
          </a:prstGeom>
          <a:noFill/>
        </p:spPr>
        <p:txBody>
          <a:bodyPr wrap="square" lIns="91440" tIns="45720" rIns="91440" bIns="45720" anchor="t">
            <a:spAutoFit/>
          </a:bodyPr>
          <a:lstStyle/>
          <a:p>
            <a:r>
              <a:rPr lang="en-US" b="0" dirty="0">
                <a:solidFill>
                  <a:srgbClr val="0000FF"/>
                </a:solidFill>
                <a:effectLst/>
                <a:latin typeface="Consolas" panose="020B0609020204030204" pitchFamily="49" charset="0"/>
              </a:rPr>
              <a:t>public</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sync</a:t>
            </a:r>
            <a:r>
              <a:rPr lang="en-US" b="0" dirty="0">
                <a:solidFill>
                  <a:srgbClr val="000000"/>
                </a:solidFill>
                <a:effectLst/>
                <a:latin typeface="Consolas" panose="020B0609020204030204" pitchFamily="49" charset="0"/>
              </a:rPr>
              <a:t> </a:t>
            </a:r>
            <a:r>
              <a:rPr lang="en-US" b="0" dirty="0">
                <a:solidFill>
                  <a:srgbClr val="267F99"/>
                </a:solidFill>
                <a:effectLst/>
                <a:latin typeface="Consolas" panose="020B0609020204030204" pitchFamily="49" charset="0"/>
              </a:rPr>
              <a:t>Task</a:t>
            </a:r>
            <a:r>
              <a:rPr lang="en-US" b="0" dirty="0">
                <a:solidFill>
                  <a:srgbClr val="000000"/>
                </a:solidFill>
                <a:effectLst/>
                <a:latin typeface="Consolas" panose="020B0609020204030204" pitchFamily="49" charset="0"/>
              </a:rPr>
              <a:t>&lt;</a:t>
            </a:r>
            <a:r>
              <a:rPr lang="en-US" b="0" dirty="0" err="1">
                <a:solidFill>
                  <a:srgbClr val="267F99"/>
                </a:solidFill>
                <a:effectLst/>
                <a:latin typeface="Consolas" panose="020B0609020204030204" pitchFamily="49" charset="0"/>
              </a:rPr>
              <a:t>IEnumer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gt; </a:t>
            </a:r>
            <a:r>
              <a:rPr lang="en-US" b="0" dirty="0" err="1">
                <a:solidFill>
                  <a:srgbClr val="795E26"/>
                </a:solidFill>
                <a:effectLst/>
                <a:latin typeface="Consolas" panose="020B0609020204030204" pitchFamily="49" charset="0"/>
              </a:rPr>
              <a:t>GetCustomersByName</a:t>
            </a:r>
            <a:r>
              <a:rPr lang="en-US" b="0" dirty="0">
                <a:solidFill>
                  <a:srgbClr val="000000"/>
                </a:solidFill>
                <a:effectLst/>
                <a:latin typeface="Consolas" panose="020B0609020204030204" pitchFamily="49" charset="0"/>
              </a:rPr>
              <a:t>(</a:t>
            </a:r>
            <a:r>
              <a:rPr lang="en-US" b="0" dirty="0">
                <a:solidFill>
                  <a:srgbClr val="0000FF"/>
                </a:solidFill>
                <a:effectLst/>
                <a:latin typeface="Consolas" panose="020B0609020204030204" pitchFamily="49" charset="0"/>
              </a:rPr>
              <a:t>string</a:t>
            </a:r>
            <a:r>
              <a:rPr lang="en-US" b="0" dirty="0">
                <a:solidFill>
                  <a:srgbClr val="000000"/>
                </a:solidFill>
                <a:effectLst/>
                <a:latin typeface="Consolas" panose="020B0609020204030204" pitchFamily="49" charset="0"/>
              </a:rPr>
              <a:t>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var</a:t>
            </a:r>
            <a:r>
              <a:rPr lang="en-US" b="0" dirty="0">
                <a:solidFill>
                  <a:srgbClr val="000000"/>
                </a:solidFill>
                <a:effectLst/>
                <a:latin typeface="Consolas" panose="020B0609020204030204" pitchFamily="49" charset="0"/>
              </a:rPr>
              <a:t> </a:t>
            </a:r>
            <a:r>
              <a:rPr lang="en-US" b="0" dirty="0" err="1">
                <a:solidFill>
                  <a:srgbClr val="001080"/>
                </a:solidFill>
                <a:effectLst/>
                <a:latin typeface="Consolas" panose="020B0609020204030204" pitchFamily="49" charset="0"/>
              </a:rPr>
              <a:t>queryable</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container</a:t>
            </a:r>
            <a:r>
              <a:rPr lang="en-US" b="0" dirty="0" err="1">
                <a:solidFill>
                  <a:srgbClr val="000000"/>
                </a:solidFill>
                <a:effectLst/>
                <a:latin typeface="Consolas" panose="020B0609020204030204" pitchFamily="49" charset="0"/>
              </a:rPr>
              <a:t>.</a:t>
            </a:r>
            <a:r>
              <a:rPr lang="en-US" b="0" dirty="0" err="1">
                <a:solidFill>
                  <a:srgbClr val="795E26"/>
                </a:solidFill>
                <a:effectLst/>
                <a:latin typeface="Consolas" panose="020B0609020204030204" pitchFamily="49" charset="0"/>
              </a:rPr>
              <a:t>GetItemLinqQuery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using</a:t>
            </a:r>
            <a:r>
              <a:rPr lang="en-US" b="0" dirty="0">
                <a:solidFill>
                  <a:srgbClr val="000000"/>
                </a:solidFill>
                <a:effectLst/>
                <a:latin typeface="Consolas" panose="020B0609020204030204" pitchFamily="49" charset="0"/>
              </a:rPr>
              <a:t> </a:t>
            </a:r>
            <a:r>
              <a:rPr lang="en-US" b="0" dirty="0" err="1">
                <a:solidFill>
                  <a:srgbClr val="267F99"/>
                </a:solidFill>
                <a:effectLst/>
                <a:latin typeface="Consolas" panose="020B0609020204030204" pitchFamily="49" charset="0"/>
              </a:rPr>
              <a:t>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 </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queryable</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795E26"/>
                </a:solidFill>
                <a:effectLst/>
                <a:latin typeface="Consolas" panose="020B0609020204030204" pitchFamily="49" charset="0"/>
              </a:rPr>
              <a:t>Where</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c</a:t>
            </a:r>
            <a:r>
              <a:rPr lang="en-US" b="0" dirty="0">
                <a:solidFill>
                  <a:srgbClr val="000000"/>
                </a:solidFill>
                <a:effectLst/>
                <a:latin typeface="Consolas" panose="020B0609020204030204" pitchFamily="49" charset="0"/>
              </a:rPr>
              <a:t> =&gt; </a:t>
            </a:r>
            <a:r>
              <a:rPr lang="en-US" b="0" dirty="0" err="1">
                <a:solidFill>
                  <a:srgbClr val="001080"/>
                </a:solidFill>
                <a:effectLst/>
                <a:latin typeface="Consolas" panose="020B0609020204030204" pitchFamily="49" charset="0"/>
              </a:rPr>
              <a:t>c</a:t>
            </a:r>
            <a:r>
              <a:rPr lang="en-US" b="0" dirty="0" err="1">
                <a:solidFill>
                  <a:srgbClr val="000000"/>
                </a:solidFill>
                <a:effectLst/>
                <a:latin typeface="Consolas" panose="020B0609020204030204" pitchFamily="49" charset="0"/>
              </a:rPr>
              <a:t>.</a:t>
            </a:r>
            <a:r>
              <a:rPr lang="en-US" b="0" dirty="0" err="1">
                <a:solidFill>
                  <a:srgbClr val="001080"/>
                </a:solidFill>
                <a:effectLst/>
                <a:latin typeface="Consolas" panose="020B0609020204030204" pitchFamily="49" charset="0"/>
              </a:rPr>
              <a:t>FullName</a:t>
            </a:r>
            <a:r>
              <a:rPr lang="en-US" b="0" dirty="0">
                <a:solidFill>
                  <a:srgbClr val="000000"/>
                </a:solidFill>
                <a:effectLst/>
                <a:latin typeface="Consolas" panose="020B0609020204030204" pitchFamily="49" charset="0"/>
              </a:rPr>
              <a:t> ==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To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return</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wait</a:t>
            </a:r>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ExecuteQuery</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method above retrieves any customer whose full name matches the input string.</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e a Function Defini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then tell the Azure OpenAI service about any available functions, including input parameters, data types, and required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function definition.</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693319"/>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functions =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name": "</a:t>
            </a:r>
            <a:r>
              <a:rPr lang="en-US" b="0" dirty="0" err="1">
                <a:solidFill>
                  <a:srgbClr val="3B3B3B"/>
                </a:solidFill>
                <a:effectLst/>
                <a:latin typeface="Consolas" panose="020B0609020204030204" pitchFamily="49" charset="0"/>
              </a:rPr>
              <a:t>get_widgets</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description": "Get widgets by owner",</a:t>
            </a:r>
          </a:p>
          <a:p>
            <a:r>
              <a:rPr lang="en-US" b="0" dirty="0">
                <a:solidFill>
                  <a:srgbClr val="3B3B3B"/>
                </a:solidFill>
                <a:effectLst/>
                <a:latin typeface="Consolas" panose="020B0609020204030204" pitchFamily="49" charset="0"/>
              </a:rPr>
              <a:t>        "parameters": {</a:t>
            </a:r>
          </a:p>
          <a:p>
            <a:r>
              <a:rPr lang="en-US" b="0" dirty="0">
                <a:solidFill>
                  <a:srgbClr val="3B3B3B"/>
                </a:solidFill>
                <a:effectLst/>
                <a:latin typeface="Consolas" panose="020B0609020204030204" pitchFamily="49" charset="0"/>
              </a:rPr>
              <a:t>            "type": "object",</a:t>
            </a:r>
          </a:p>
          <a:p>
            <a:r>
              <a:rPr lang="en-US" b="0" dirty="0">
                <a:solidFill>
                  <a:srgbClr val="3B3B3B"/>
                </a:solidFill>
                <a:effectLst/>
                <a:latin typeface="Consolas" panose="020B0609020204030204" pitchFamily="49" charset="0"/>
              </a:rPr>
              <a:t>            "properties": {</a:t>
            </a:r>
          </a:p>
          <a:p>
            <a:r>
              <a:rPr lang="en-US" dirty="0">
                <a:solidFill>
                  <a:srgbClr val="3B3B3B"/>
                </a:solidFill>
                <a:latin typeface="Consolas" panose="020B0609020204030204" pitchFamily="49" charset="0"/>
              </a:rPr>
              <a:t>	         "owner": {"type": "string"},</a:t>
            </a:r>
            <a:endParaRPr lang="en-US" b="0" dirty="0">
              <a:solidFill>
                <a:srgbClr val="3B3B3B"/>
              </a:solidFill>
              <a:effectLst/>
              <a:latin typeface="Consolas" panose="020B0609020204030204" pitchFamily="49" charset="0"/>
            </a:endParaRPr>
          </a:p>
          <a:p>
            <a:r>
              <a:rPr lang="en-US" dirty="0">
                <a:solidFill>
                  <a:srgbClr val="3B3B3B"/>
                </a:solidFill>
                <a:latin typeface="Consolas" panose="020B0609020204030204" pitchFamily="49" charset="0"/>
              </a:rPr>
              <a:t>	     </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required": ["owner"],</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4 Architecture </a:t>
            </a:r>
            <a:endParaRPr lang="en-US" dirty="0"/>
          </a:p>
        </p:txBody>
      </p:sp>
      <p:pic>
        <p:nvPicPr>
          <p:cNvPr id="20" name="Graphic 19">
            <a:extLst>
              <a:ext uri="{FF2B5EF4-FFF2-40B4-BE49-F238E27FC236}">
                <a16:creationId xmlns:a16="http://schemas.microsoft.com/office/drawing/2014/main" id="{574FE097-5E1A-8051-524F-BB0B22C14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26" name="Picture 2" descr="Streamlit logo on light background">
            <a:extLst>
              <a:ext uri="{FF2B5EF4-FFF2-40B4-BE49-F238E27FC236}">
                <a16:creationId xmlns:a16="http://schemas.microsoft.com/office/drawing/2014/main" id="{81FEFA8A-4C4C-153C-D21E-4CCAEB942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zure OpenAI Service: Microsoft integriert ChatGPT und Dall-E in Cloud">
            <a:extLst>
              <a:ext uri="{FF2B5EF4-FFF2-40B4-BE49-F238E27FC236}">
                <a16:creationId xmlns:a16="http://schemas.microsoft.com/office/drawing/2014/main" id="{495778CE-1FCE-5233-8EF8-85044CB7FE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51E8F90-C51D-0454-67D4-9BB69C961A7A}"/>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29" name="TextBox 28">
            <a:extLst>
              <a:ext uri="{FF2B5EF4-FFF2-40B4-BE49-F238E27FC236}">
                <a16:creationId xmlns:a16="http://schemas.microsoft.com/office/drawing/2014/main" id="{00C2D46E-E882-D381-FE18-2750EE24800A}"/>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31" name="Graphic 30" descr="Radio microphone with solid fill">
            <a:extLst>
              <a:ext uri="{FF2B5EF4-FFF2-40B4-BE49-F238E27FC236}">
                <a16:creationId xmlns:a16="http://schemas.microsoft.com/office/drawing/2014/main" id="{640296F8-AC61-C935-32B1-83308B2B2A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33" name="Straight Arrow Connector 32">
            <a:extLst>
              <a:ext uri="{FF2B5EF4-FFF2-40B4-BE49-F238E27FC236}">
                <a16:creationId xmlns:a16="http://schemas.microsoft.com/office/drawing/2014/main" id="{99B90B3B-AAD3-4BE2-E3F8-279900BFB26D}"/>
              </a:ext>
            </a:extLst>
          </p:cNvPr>
          <p:cNvCxnSpPr>
            <a:cxnSpLocks/>
            <a:stCxn id="31" idx="0"/>
            <a:endCxn id="29"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FD08C3-A102-B563-4747-F74025A42150}"/>
              </a:ext>
            </a:extLst>
          </p:cNvPr>
          <p:cNvCxnSpPr>
            <a:stCxn id="20" idx="3"/>
            <a:endCxn id="27"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987BFD5-0ECF-64C0-C568-FEAEB56F54FC}"/>
              </a:ext>
            </a:extLst>
          </p:cNvPr>
          <p:cNvCxnSpPr>
            <a:stCxn id="28" idx="2"/>
            <a:endCxn id="26"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zure AI Services Speech service and use it to transcribe utterances from your microphone into chat completion requests in Azure OpenAI.</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speech to text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speech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resource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work with a speech to text scenario in this exercise, but text to speech is also a possibility.</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7" name="Picture 6">
            <a:extLst>
              <a:ext uri="{FF2B5EF4-FFF2-40B4-BE49-F238E27FC236}">
                <a16:creationId xmlns:a16="http://schemas.microsoft.com/office/drawing/2014/main" id="{60780E01-38BC-0911-D9A0-6527D8434F17}"/>
              </a:ext>
            </a:extLst>
          </p:cNvPr>
          <p:cNvPicPr>
            <a:picLocks noChangeAspect="1"/>
          </p:cNvPicPr>
          <p:nvPr/>
        </p:nvPicPr>
        <p:blipFill>
          <a:blip r:embed="rId4"/>
          <a:stretch>
            <a:fillRect/>
          </a:stretch>
        </p:blipFill>
        <p:spPr>
          <a:xfrm>
            <a:off x="5964220" y="1586487"/>
            <a:ext cx="3894599" cy="4599703"/>
          </a:xfrm>
          <a:prstGeom prst="rect">
            <a:avLst/>
          </a:prstGeom>
        </p:spPr>
      </p:pic>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Make Requests using Speech</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5" name="Picture 4">
            <a:extLst>
              <a:ext uri="{FF2B5EF4-FFF2-40B4-BE49-F238E27FC236}">
                <a16:creationId xmlns:a16="http://schemas.microsoft.com/office/drawing/2014/main" id="{381D5952-4A21-8448-F44A-F99EAF5414B3}"/>
              </a:ext>
            </a:extLst>
          </p:cNvPr>
          <p:cNvPicPr>
            <a:picLocks noChangeAspect="1"/>
          </p:cNvPicPr>
          <p:nvPr/>
        </p:nvPicPr>
        <p:blipFill>
          <a:blip r:embed="rId4"/>
          <a:stretch>
            <a:fillRect/>
          </a:stretch>
        </p:blipFill>
        <p:spPr>
          <a:xfrm>
            <a:off x="5998233" y="1793652"/>
            <a:ext cx="5366483" cy="4495065"/>
          </a:xfrm>
          <a:prstGeom prst="rect">
            <a:avLst/>
          </a:prstGeom>
        </p:spPr>
      </p:pic>
      <p:pic>
        <p:nvPicPr>
          <p:cNvPr id="3" name="Picture 2">
            <a:extLst>
              <a:ext uri="{FF2B5EF4-FFF2-40B4-BE49-F238E27FC236}">
                <a16:creationId xmlns:a16="http://schemas.microsoft.com/office/drawing/2014/main" id="{79142A24-9959-529B-7256-BC6F325A867F}"/>
              </a:ext>
            </a:extLst>
          </p:cNvPr>
          <p:cNvPicPr>
            <a:picLocks noChangeAspect="1"/>
          </p:cNvPicPr>
          <p:nvPr/>
        </p:nvPicPr>
        <p:blipFill>
          <a:blip r:embed="rId5"/>
          <a:stretch>
            <a:fillRect/>
          </a:stretch>
        </p:blipFill>
        <p:spPr>
          <a:xfrm>
            <a:off x="585217" y="3311982"/>
            <a:ext cx="5510783" cy="1262736"/>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2" name="Graphic 1">
            <a:extLst>
              <a:ext uri="{FF2B5EF4-FFF2-40B4-BE49-F238E27FC236}">
                <a16:creationId xmlns:a16="http://schemas.microsoft.com/office/drawing/2014/main" id="{D4D453F7-46F9-680F-E479-1AA5446AB1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Azure OpenAI Service: Microsoft integriert ChatGPT und Dall-E in Cloud">
            <a:extLst>
              <a:ext uri="{FF2B5EF4-FFF2-40B4-BE49-F238E27FC236}">
                <a16:creationId xmlns:a16="http://schemas.microsoft.com/office/drawing/2014/main" id="{E06C193E-6156-0FC9-F3A4-A5584D6729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C7B81E-2826-9D27-2C97-CEFEB26CD59F}"/>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7" name="TextBox 6">
            <a:extLst>
              <a:ext uri="{FF2B5EF4-FFF2-40B4-BE49-F238E27FC236}">
                <a16:creationId xmlns:a16="http://schemas.microsoft.com/office/drawing/2014/main" id="{43668D23-3E68-5A51-DD05-6D260AD2C940}"/>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8" name="Graphic 7" descr="Radio microphone with solid fill">
            <a:extLst>
              <a:ext uri="{FF2B5EF4-FFF2-40B4-BE49-F238E27FC236}">
                <a16:creationId xmlns:a16="http://schemas.microsoft.com/office/drawing/2014/main" id="{60753686-857A-5BFC-879B-F49DFC1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9" name="Straight Arrow Connector 8">
            <a:extLst>
              <a:ext uri="{FF2B5EF4-FFF2-40B4-BE49-F238E27FC236}">
                <a16:creationId xmlns:a16="http://schemas.microsoft.com/office/drawing/2014/main" id="{9683D322-C83D-146E-93C6-4D5BB666ED2F}"/>
              </a:ext>
            </a:extLst>
          </p:cNvPr>
          <p:cNvCxnSpPr>
            <a:cxnSpLocks/>
            <a:stCxn id="8" idx="0"/>
            <a:endCxn id="7"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EC6A959-4410-044F-2AC6-D43348BFFF3A}"/>
              </a:ext>
            </a:extLst>
          </p:cNvPr>
          <p:cNvCxnSpPr>
            <a:stCxn id="2" idx="3"/>
            <a:endCxn id="5"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132253B-B332-F946-D40E-EDA79C425049}"/>
              </a:ext>
            </a:extLst>
          </p:cNvPr>
          <p:cNvCxnSpPr>
            <a:stCxn id="6" idx="2"/>
            <a:endCxn id="3"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3731" y="3390004"/>
            <a:ext cx="914400" cy="91440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p:cNvCxnSpPr>
          <p:nvPr/>
        </p:nvCxnSpPr>
        <p:spPr>
          <a:xfrm flipV="1">
            <a:off x="4539756" y="3010797"/>
            <a:ext cx="299324"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Provide live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imul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e the </a:t>
            </a:r>
            <a:r>
              <a:rPr kumimoji="0" lang="en-US" sz="2000" b="0" i="0" u="none" strike="noStrike" kern="1200" cap="none" spc="0" normalizeH="0" baseline="0" noProof="0" dirty="0" err="1">
                <a:ln>
                  <a:noFill/>
                </a:ln>
                <a:effectLst/>
                <a:uLnTx/>
                <a:uFillTx/>
                <a:latin typeface="Segoe UI "/>
                <a:ea typeface="+mn-ea"/>
                <a:cs typeface="+mn-cs"/>
              </a:rPr>
              <a:t>st.file_uploader</a:t>
            </a:r>
            <a:r>
              <a:rPr kumimoji="0" lang="en-US" sz="2000" b="0" i="0" u="none" strike="noStrike" kern="1200" cap="none" spc="0" normalizeH="0" baseline="0" noProof="0" dirty="0">
                <a:ln>
                  <a:noFill/>
                </a:ln>
                <a:effectLst/>
                <a:uLnTx/>
                <a:uFillTx/>
                <a:latin typeface="Segoe UI "/>
                <a:ea typeface="+mn-ea"/>
                <a:cs typeface="+mn-cs"/>
              </a:rPr>
              <a:t>() widget in </a:t>
            </a:r>
            <a:r>
              <a:rPr kumimoji="0" lang="en-US" sz="2000" b="0" i="0" u="none" strike="noStrike" kern="1200" cap="none" spc="0" normalizeH="0" baseline="0" noProof="0" dirty="0" err="1">
                <a:ln>
                  <a:noFill/>
                </a:ln>
                <a:effectLst/>
                <a:uLnTx/>
                <a:uFillTx/>
                <a:latin typeface="Segoe UI "/>
                <a:ea typeface="+mn-ea"/>
                <a:cs typeface="+mn-cs"/>
              </a:rPr>
              <a:t>Streamlit</a:t>
            </a:r>
            <a:r>
              <a:rPr kumimoji="0" lang="en-US" sz="2000" b="0" i="0" u="none" strike="noStrike" kern="1200" cap="none" spc="0" normalizeH="0" baseline="0" noProof="0" dirty="0">
                <a:ln>
                  <a:noFill/>
                </a:ln>
                <a:effectLst/>
                <a:uLnTx/>
                <a:uFillTx/>
                <a:latin typeface="Segoe UI "/>
                <a:ea typeface="+mn-ea"/>
                <a:cs typeface="+mn-cs"/>
              </a:rPr>
              <a:t> to accept file uploads, or use a button to perform call recording.</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9" y="2562470"/>
            <a:ext cx="11018521" cy="352180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6" name="Picture 5">
            <a:extLst>
              <a:ext uri="{FF2B5EF4-FFF2-40B4-BE49-F238E27FC236}">
                <a16:creationId xmlns:a16="http://schemas.microsoft.com/office/drawing/2014/main" id="{D9304169-A2A0-A6E0-4463-041F97FFE615}"/>
              </a:ext>
            </a:extLst>
          </p:cNvPr>
          <p:cNvPicPr>
            <a:picLocks noChangeAspect="1"/>
          </p:cNvPicPr>
          <p:nvPr/>
        </p:nvPicPr>
        <p:blipFill>
          <a:blip r:embed="rId4"/>
          <a:stretch>
            <a:fillRect/>
          </a:stretch>
        </p:blipFill>
        <p:spPr>
          <a:xfrm>
            <a:off x="701575" y="2706343"/>
            <a:ext cx="10783751" cy="3266478"/>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spTree>
    <p:custDataLst>
      <p:tags r:id="rId1"/>
    </p:custDataLst>
    <p:extLst>
      <p:ext uri="{BB962C8B-B14F-4D97-AF65-F5344CB8AC3E}">
        <p14:creationId xmlns:p14="http://schemas.microsoft.com/office/powerpoint/2010/main" val="21273605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199454"/>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503366"/>
            <a:ext cx="11018520" cy="338554"/>
          </a:xfrm>
        </p:spPr>
        <p:txBody>
          <a:bodyPr vert="horz" wrap="square" lIns="0" tIns="0" rIns="0" bIns="0" rtlCol="0" anchor="ctr">
            <a:spAutoFit/>
          </a:bodyPr>
          <a:lstStyle/>
          <a:p>
            <a:r>
              <a:rPr lang="en-US" sz="2200" dirty="0"/>
              <a:t>Introduction</a:t>
            </a:r>
            <a:r>
              <a:rPr lang="en-US" altLang="zh-CN" sz="2200" dirty="0"/>
              <a:t>: Use Azure AI Services to generate call summaries and extract insights</a:t>
            </a:r>
            <a:endParaRPr lang="en-IN" sz="2200"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In this lab, </a:t>
            </a:r>
            <a:r>
              <a:rPr lang="en-US" b="0" i="0" dirty="0">
                <a:solidFill>
                  <a:srgbClr val="1F2328"/>
                </a:solidFill>
                <a:effectLst/>
              </a:rPr>
              <a:t>you will expand on the audio transcription work you did in lab 05, focusing on using Azure AI Services--including Azure OpenAI--to summarize the call's transcript and to extract insights from the transcript. You will also preform sentiment analysis and opinion mining.</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summaries using various methods available in Azure AI Services and Azure OpenAI</a:t>
            </a:r>
          </a:p>
        </p:txBody>
      </p:sp>
      <p:sp>
        <p:nvSpPr>
          <p:cNvPr id="41" name="TextBox 40">
            <a:extLst>
              <a:ext uri="{FF2B5EF4-FFF2-40B4-BE49-F238E27FC236}">
                <a16:creationId xmlns:a16="http://schemas.microsoft.com/office/drawing/2014/main" id="{CCA0B666-DD15-E0B0-222C-F4CE52FB841D}"/>
              </a:ext>
            </a:extLst>
          </p:cNvPr>
          <p:cNvSpPr txBox="1"/>
          <p:nvPr/>
        </p:nvSpPr>
        <p:spPr>
          <a:xfrm>
            <a:off x="1219865" y="32816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Azure AI Language to extract named entitie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04911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Leverage Azure AI Language to perform sentiment analysis and opinion mi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3966869"/>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48133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call summarization into a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0"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4731154"/>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114474"/>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486252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76774457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language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a:t>
            </a:r>
            <a:r>
              <a:rPr lang="en-US" sz="1600" dirty="0">
                <a:solidFill>
                  <a:srgbClr val="000000"/>
                </a:solidFill>
                <a:latin typeface="Segoe UI "/>
              </a:rPr>
              <a:t>AI Language service </a:t>
            </a:r>
            <a:r>
              <a:rPr kumimoji="0" lang="en-US" sz="1600" i="0" u="none" strike="noStrike" kern="1200" cap="none" spc="0" normalizeH="0" baseline="0" noProof="0" dirty="0">
                <a:ln>
                  <a:noFill/>
                </a:ln>
                <a:solidFill>
                  <a:srgbClr val="000000"/>
                </a:solidFill>
                <a:effectLst/>
                <a:uLnTx/>
                <a:uFillTx/>
                <a:latin typeface="Segoe UI "/>
                <a:ea typeface="+mn-ea"/>
                <a:cs typeface="+mn-cs"/>
              </a:rPr>
              <a:t>provides numerous capabilities for extracting information and insights from text.</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use the Language service to summarize text, extract named entities, and perform sentiment analysis and opinion min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6CC6B60C-9F8E-BB3F-CECC-B5FA82B705F1}"/>
              </a:ext>
            </a:extLst>
          </p:cNvPr>
          <p:cNvPicPr>
            <a:picLocks noChangeAspect="1"/>
          </p:cNvPicPr>
          <p:nvPr/>
        </p:nvPicPr>
        <p:blipFill>
          <a:blip r:embed="rId4"/>
          <a:stretch>
            <a:fillRect/>
          </a:stretch>
        </p:blipFill>
        <p:spPr>
          <a:xfrm>
            <a:off x="6189463" y="1595026"/>
            <a:ext cx="3444114" cy="4582626"/>
          </a:xfrm>
          <a:prstGeom prst="rect">
            <a:avLst/>
          </a:prstGeom>
        </p:spPr>
      </p:pic>
    </p:spTree>
    <p:custDataLst>
      <p:tags r:id="rId1"/>
    </p:custDataLst>
    <p:extLst>
      <p:ext uri="{BB962C8B-B14F-4D97-AF65-F5344CB8AC3E}">
        <p14:creationId xmlns:p14="http://schemas.microsoft.com/office/powerpoint/2010/main" val="136552924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you will generate extractive and abstractive summaries of a call transcript. Using Azure OpenAI, you will create a query-based summary.</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077860"/>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154962"/>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86954FF2-24C6-4C72-87DF-4259AE2BB726}">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3671</Words>
  <Application>Microsoft Office PowerPoint</Application>
  <PresentationFormat>Widescreen</PresentationFormat>
  <Paragraphs>328</Paragraphs>
  <Slides>33</Slides>
  <Notes>33</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50" baseType="lpstr">
      <vt:lpstr>-apple-system</vt:lpstr>
      <vt:lpstr>Arial</vt:lpstr>
      <vt:lpstr>Calibri</vt:lpstr>
      <vt:lpstr>Consolas</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Exercise 1 Architecture </vt:lpstr>
      <vt:lpstr>Introduction: Deploy app resources</vt:lpstr>
      <vt:lpstr>Choose an appropriate region</vt:lpstr>
      <vt:lpstr>Deploy a Bicep script</vt:lpstr>
      <vt:lpstr>Add chat with data</vt:lpstr>
      <vt:lpstr>Exercise 2 Architecture </vt:lpstr>
      <vt:lpstr>Introduction: Add chat with data</vt:lpstr>
      <vt:lpstr>Add Your Data</vt:lpstr>
      <vt:lpstr>Update a Streamlit Application</vt:lpstr>
      <vt:lpstr>Chat with Data</vt:lpstr>
      <vt:lpstr>Implement function calls</vt:lpstr>
      <vt:lpstr>Exercise 3 Architecture </vt:lpstr>
      <vt:lpstr>Introduction: Implement function calling against external APIs</vt:lpstr>
      <vt:lpstr>Build a Web API Endpoint</vt:lpstr>
      <vt:lpstr>Create a Function Definition</vt:lpstr>
      <vt:lpstr>Implement audio transcription</vt:lpstr>
      <vt:lpstr>Exercise 4 Architecture </vt:lpstr>
      <vt:lpstr>Introduction: Implement audio transcription</vt:lpstr>
      <vt:lpstr>Prepare a speech resource </vt:lpstr>
      <vt:lpstr>Make Requests using Speech</vt:lpstr>
      <vt:lpstr>Provide live audio transcription</vt:lpstr>
      <vt:lpstr>Exercise 5 Architecture </vt:lpstr>
      <vt:lpstr>Introduction: Provide live audio transcription</vt:lpstr>
      <vt:lpstr>Call Simulation</vt:lpstr>
      <vt:lpstr>Call compliance</vt:lpstr>
      <vt:lpstr>Generate a call summary</vt:lpstr>
      <vt:lpstr>Exercise 6 Architecture </vt:lpstr>
      <vt:lpstr>Introduction: Use Azure AI Services to generate call summaries and extract insights</vt:lpstr>
      <vt:lpstr>Prepare a language resource </vt:lpstr>
      <vt:lpstr>Call Summarization</vt:lpstr>
      <vt:lpstr>Extract ins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4-01-17T22:0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